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92157" autoAdjust="0"/>
  </p:normalViewPr>
  <p:slideViewPr>
    <p:cSldViewPr snapToGrid="0">
      <p:cViewPr varScale="1">
        <p:scale>
          <a:sx n="102" d="100"/>
          <a:sy n="102" d="100"/>
        </p:scale>
        <p:origin x="876" y="102"/>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747218CD-B71C-4089-B46B-7A6B29B3A6B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BEDD43A4-0C75-45FF-824A-7C45A469DBC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9F1EC58D-15DC-4FA8-B75F-7F3D6DA6027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32</c:v>
                </c:pt>
                <c:pt idx="1">
                  <c:v>0.37</c:v>
                </c:pt>
                <c:pt idx="2">
                  <c:v>0.27</c:v>
                </c:pt>
                <c:pt idx="3">
                  <c:v>0.04</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5</c15:f>
                <c15:dlblRangeCache>
                  <c:ptCount val="4"/>
                  <c:pt idx="0">
                    <c:v>32%</c:v>
                  </c:pt>
                  <c:pt idx="1">
                    <c:v>37%</c:v>
                  </c:pt>
                  <c:pt idx="2">
                    <c:v>27%</c:v>
                  </c:pt>
                  <c:pt idx="3">
                    <c:v>4%</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9A364E3-B387-48CD-B24A-5047121D5EF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AE26-433D-82F1-4674F4195729}"/>
                </c:ext>
              </c:extLst>
            </c:dLbl>
            <c:dLbl>
              <c:idx val="1"/>
              <c:tx>
                <c:rich>
                  <a:bodyPr/>
                  <a:lstStyle/>
                  <a:p>
                    <a:fld id="{BA789649-A48D-4673-8EFB-5E9324AF228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4E9A1F76-5FE7-440D-8D96-CA3911BA621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2F428798-2700-4B44-AE88-A7C1C08D411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02</c:v>
                </c:pt>
                <c:pt idx="1">
                  <c:v>0.21</c:v>
                </c:pt>
                <c:pt idx="2">
                  <c:v>0.51</c:v>
                </c:pt>
                <c:pt idx="3">
                  <c:v>0.26</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L$2:$L$5</c15:f>
                <c15:dlblRangeCache>
                  <c:ptCount val="4"/>
                  <c:pt idx="0">
                    <c:v>2%</c:v>
                  </c:pt>
                  <c:pt idx="1">
                    <c:v>21%</c:v>
                  </c:pt>
                  <c:pt idx="2">
                    <c:v>51%</c:v>
                  </c:pt>
                  <c:pt idx="3">
                    <c:v>26%</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84</c:v>
                </c:pt>
                <c:pt idx="1">
                  <c:v>0.77</c:v>
                </c:pt>
                <c:pt idx="2">
                  <c:v>0.87</c:v>
                </c:pt>
                <c:pt idx="3">
                  <c:v>0.9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C30FE84B-9ACF-4468-AF6F-232E592AFE2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C8F498F7-6984-4241-97E5-15F8C21A737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0C019DBA-18C1-47D3-B4EB-554AF1C3918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16</c:v>
                </c:pt>
                <c:pt idx="1">
                  <c:v>0.23</c:v>
                </c:pt>
                <c:pt idx="2">
                  <c:v>0.13</c:v>
                </c:pt>
                <c:pt idx="3">
                  <c:v>0.08</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84%</c:v>
                  </c:pt>
                  <c:pt idx="1">
                    <c:v>77%</c:v>
                  </c:pt>
                  <c:pt idx="2">
                    <c:v>87%</c:v>
                  </c:pt>
                  <c:pt idx="3">
                    <c:v>92%</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3</c:v>
                </c:pt>
                <c:pt idx="1">
                  <c:v>0</c:v>
                </c:pt>
                <c:pt idx="2">
                  <c:v>0.88</c:v>
                </c:pt>
                <c:pt idx="3">
                  <c:v>0.81</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3D270D1E-2958-4925-B1AA-F7548F8C363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79A86A18-F8D2-40E0-8665-3975A660A6D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2D5C06C5-ADD8-4A28-ABF8-0DF7BDA40C3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67E50DD6-970D-40D8-83DC-2E152DA3C1E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7</c:v>
                </c:pt>
                <c:pt idx="1">
                  <c:v>0</c:v>
                </c:pt>
                <c:pt idx="2">
                  <c:v>0.12</c:v>
                </c:pt>
                <c:pt idx="3">
                  <c:v>0.19</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3%</c:v>
                  </c:pt>
                  <c:pt idx="1">
                    <c:v>-</c:v>
                  </c:pt>
                  <c:pt idx="2">
                    <c:v>88%</c:v>
                  </c:pt>
                  <c:pt idx="3">
                    <c:v>81%</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78</c:v>
                </c:pt>
                <c:pt idx="1">
                  <c:v>0.86</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FA969A8F-5868-4257-B2E4-0D20712A8BB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A19A3A73-9895-4F09-9C13-1E7159D4471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9C0D278B-85DD-41E1-8170-21E24A819D8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82917EC3-6A02-448A-A33F-13DBC919AA2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22</c:v>
                </c:pt>
                <c:pt idx="1">
                  <c:v>0.14000000000000001</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78%</c:v>
                  </c:pt>
                  <c:pt idx="1">
                    <c:v>86%</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3</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048AA24C-4359-4916-B6E9-2AE2E39526E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EB364107-4906-47FB-B2B3-4F4FFC44F98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7</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3%</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7</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3</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7%</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7</c:v>
                </c:pt>
                <c:pt idx="1">
                  <c:v>0.85</c:v>
                </c:pt>
                <c:pt idx="2">
                  <c:v>0.88</c:v>
                </c:pt>
                <c:pt idx="3">
                  <c:v>0.85</c:v>
                </c:pt>
                <c:pt idx="4">
                  <c:v>0.9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C39B46E4-4136-4159-9717-1A468C0CA4C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5D07710C-DF7E-4EC0-99D3-61ABA0A06F2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BE0C0407-08F6-41A4-BFE0-7FCA58F8C54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75D5A763-F386-44F5-A11B-817ACA2102A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3</c:v>
                </c:pt>
                <c:pt idx="1">
                  <c:v>0.15</c:v>
                </c:pt>
                <c:pt idx="2">
                  <c:v>0.12</c:v>
                </c:pt>
                <c:pt idx="3">
                  <c:v>0.15</c:v>
                </c:pt>
                <c:pt idx="4">
                  <c:v>0.0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7%</c:v>
                  </c:pt>
                  <c:pt idx="1">
                    <c:v>85%</c:v>
                  </c:pt>
                  <c:pt idx="2">
                    <c:v>88%</c:v>
                  </c:pt>
                  <c:pt idx="3">
                    <c:v>85%</c:v>
                  </c:pt>
                  <c:pt idx="4">
                    <c:v>91%</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87</c:v>
                </c:pt>
                <c:pt idx="1">
                  <c:v>0.81</c:v>
                </c:pt>
                <c:pt idx="2">
                  <c:v>0.89</c:v>
                </c:pt>
                <c:pt idx="3">
                  <c:v>0.88</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2B9EB145-60C2-4870-BA4E-DACF9DAF395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0A4FEAB3-7F92-4482-A306-D9C0063D3C4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05E5EE84-607A-4B03-A6C4-0CD90A3B3FE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13</c:v>
                </c:pt>
                <c:pt idx="1">
                  <c:v>0.19</c:v>
                </c:pt>
                <c:pt idx="2">
                  <c:v>0.11</c:v>
                </c:pt>
                <c:pt idx="3">
                  <c:v>0.1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87%</c:v>
                  </c:pt>
                  <c:pt idx="1">
                    <c:v>81%</c:v>
                  </c:pt>
                  <c:pt idx="2">
                    <c:v>89%</c:v>
                  </c:pt>
                  <c:pt idx="3">
                    <c:v>88%</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9</c:v>
                </c:pt>
                <c:pt idx="1">
                  <c:v>0</c:v>
                </c:pt>
                <c:pt idx="2">
                  <c:v>0.84</c:v>
                </c:pt>
                <c:pt idx="3">
                  <c:v>0.9</c:v>
                </c:pt>
                <c:pt idx="4">
                  <c:v>0.8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1CBDDBC0-3E39-4369-9C4C-D571E23BFD4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CA54EE7C-1158-467C-A19F-75C7DDF9DE8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04801DF2-E271-4FAC-B0AB-F6070AED498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6CE4338D-034A-4CAF-805A-B1B65489D97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1</c:v>
                </c:pt>
                <c:pt idx="1">
                  <c:v>0</c:v>
                </c:pt>
                <c:pt idx="2">
                  <c:v>0.16</c:v>
                </c:pt>
                <c:pt idx="3">
                  <c:v>0.1</c:v>
                </c:pt>
                <c:pt idx="4">
                  <c:v>0.1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9%</c:v>
                  </c:pt>
                  <c:pt idx="1">
                    <c:v>-</c:v>
                  </c:pt>
                  <c:pt idx="2">
                    <c:v>84%</c:v>
                  </c:pt>
                  <c:pt idx="3">
                    <c:v>90%</c:v>
                  </c:pt>
                  <c:pt idx="4">
                    <c:v>89%</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5</c:v>
                </c:pt>
                <c:pt idx="1">
                  <c:v>0.89</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56526C98-2E30-4D5B-9EBA-B1B60364EB9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EEB0D8D1-9315-488C-A19D-7DEB5AFBD8B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C69CF118-B917-478D-BDFD-49C9A4C6FA9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067BC307-B6B7-4E95-B2D2-A42389953A5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5</c:v>
                </c:pt>
                <c:pt idx="1">
                  <c:v>0.11</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5%</c:v>
                  </c:pt>
                  <c:pt idx="1">
                    <c:v>89%</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8</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D2902168-1AB7-4569-90E1-409AFD89AE4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715175B2-6151-4DB1-AB15-F4C2336CD49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2</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8%</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5</c:v>
                </c:pt>
                <c:pt idx="1">
                  <c:v>89</c:v>
                </c:pt>
                <c:pt idx="2">
                  <c:v>2</c:v>
                </c:pt>
                <c:pt idx="3">
                  <c:v>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92</c:v>
                </c:pt>
                <c:pt idx="1">
                  <c:v>6</c:v>
                </c:pt>
                <c:pt idx="2">
                  <c:v>1</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fld id="{36EC0447-ECE4-4FCD-87A6-626C500AC2B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r>
                      <a:rPr lang="en-GB"/>
                      <a:t>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115E-48E7-9278-D03DDCBD9794}"/>
                </c:ext>
              </c:extLst>
            </c:dLbl>
            <c:dLbl>
              <c:idx val="3"/>
              <c:tx>
                <c:rich>
                  <a:bodyPr/>
                  <a:lstStyle/>
                  <a:p>
                    <a:fld id="{CF910A10-BC67-4760-8618-3CED79123CD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74C4B34B-F5C6-4666-98EE-CBB935F0E81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r>
                      <a:rPr lang="en-GB"/>
                      <a:t>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115E-48E7-9278-D03DDCBD9794}"/>
                </c:ext>
              </c:extLst>
            </c:dLbl>
            <c:dLbl>
              <c:idx val="6"/>
              <c:tx>
                <c:rich>
                  <a:bodyPr/>
                  <a:lstStyle/>
                  <a:p>
                    <a:r>
                      <a:rPr lang="en-GB"/>
                      <a:t>34%</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4</c:v>
                </c:pt>
                <c:pt idx="1">
                  <c:v>5</c:v>
                </c:pt>
                <c:pt idx="2">
                  <c:v>6</c:v>
                </c:pt>
                <c:pt idx="3">
                  <c:v>2</c:v>
                </c:pt>
                <c:pt idx="4">
                  <c:v>3</c:v>
                </c:pt>
                <c:pt idx="5">
                  <c:v>5</c:v>
                </c:pt>
                <c:pt idx="6">
                  <c:v>3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54%</c:v>
                  </c:pt>
                  <c:pt idx="1">
                    <c:v>5%</c:v>
                  </c:pt>
                  <c:pt idx="2">
                    <c:v>6%p</c:v>
                  </c:pt>
                  <c:pt idx="3">
                    <c:v>2%</c:v>
                  </c:pt>
                  <c:pt idx="4">
                    <c:v>3%</c:v>
                  </c:pt>
                  <c:pt idx="5">
                    <c:v>5%p</c:v>
                  </c:pt>
                  <c:pt idx="6">
                    <c:v>34%q</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C7A31F81-3D93-41E9-80B9-D16528A29A5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fld id="{17B27671-4181-4D60-A70C-7755E25C4D7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fld id="{CF61A3DA-B78C-4D06-8422-C553907ACDF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2F986DCB-BF87-4925-8870-CA7B4C2D15B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0C422EE2-4ED5-4EA3-9B6C-76B6A528D58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F0609976-3BF0-46E5-97CC-2553B618491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4</c:v>
                </c:pt>
                <c:pt idx="1">
                  <c:v>7</c:v>
                </c:pt>
                <c:pt idx="2">
                  <c:v>3</c:v>
                </c:pt>
                <c:pt idx="3">
                  <c:v>3</c:v>
                </c:pt>
                <c:pt idx="4">
                  <c:v>14</c:v>
                </c:pt>
                <c:pt idx="5">
                  <c:v>7</c:v>
                </c:pt>
                <c:pt idx="6">
                  <c:v>3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54%</c:v>
                  </c:pt>
                  <c:pt idx="1">
                    <c:v>7%</c:v>
                  </c:pt>
                  <c:pt idx="2">
                    <c:v>3%</c:v>
                  </c:pt>
                  <c:pt idx="3">
                    <c:v>3%</c:v>
                  </c:pt>
                  <c:pt idx="4">
                    <c:v>14%</c:v>
                  </c:pt>
                  <c:pt idx="5">
                    <c:v>7%</c:v>
                  </c:pt>
                  <c:pt idx="6">
                    <c:v>31%</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06EF-47F1-B883-7748EC1E367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EF-47F1-B883-7748EC1E367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2227FD23-D912-4E72-AE9A-034EB634D3E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723BC6B3-D391-43F1-B076-C81EFD79886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0</c:v>
                </c:pt>
                <c:pt idx="1">
                  <c:v>9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0%</c:v>
                  </c:pt>
                  <c:pt idx="1">
                    <c:v>90%</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2F0-4CF1-80C7-205225AB80C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2F0-4CF1-80C7-205225AB80C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D1379F23-50DB-4DFB-9B7F-D9200564832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7747D05A-8BBD-4139-8EA1-C7B5CB512CD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1</c:v>
                </c:pt>
                <c:pt idx="1">
                  <c:v>8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1%</c:v>
                  </c:pt>
                  <c:pt idx="1">
                    <c:v>89%</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5CF-40B3-8374-492CB86772A0}"/>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CF-40B3-8374-492CB86772A0}"/>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8E78EF3D-6AA3-4B9A-9491-59C5DBD593C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14%</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A5CF-40B3-8374-492CB86772A0}"/>
                </c:ext>
              </c:extLst>
            </c:dLbl>
            <c:dLbl>
              <c:idx val="1"/>
              <c:tx>
                <c:rich>
                  <a:bodyPr/>
                  <a:lstStyle/>
                  <a:p>
                    <a:r>
                      <a:rPr lang="en-GB"/>
                      <a:t>8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4</c:v>
                </c:pt>
                <c:pt idx="1">
                  <c:v>8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4%q</c:v>
                  </c:pt>
                  <c:pt idx="1">
                    <c:v>86%p</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248ECC79-6CE4-4E19-A132-F5B1613D2C3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8B03F9DD-F010-4F83-A52B-8EF9EDC7C28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8A6B0D22-AABF-4B7B-9EA4-BD34C172883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766CC634-6AF3-4947-9867-BC9E18232E9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4</c:v>
                </c:pt>
                <c:pt idx="1">
                  <c:v>0.44</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54%</c:v>
                  </c:pt>
                  <c:pt idx="1">
                    <c:v>44%</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1F422396-1A5C-4551-8AD1-088AA518290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C842D881-620B-41D6-9B3E-42862D38216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AA1F9738-7975-4309-BB2B-CE7F1839688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CA6CA7CA-C92C-49C5-84DF-8FB7DE10EDD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5000000000000004</c:v>
                </c:pt>
                <c:pt idx="1">
                  <c:v>0.44</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55%</c:v>
                  </c:pt>
                  <c:pt idx="1">
                    <c:v>44%</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819-49AB-9068-B304DBA3CCB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819-49AB-9068-B304DBA3CCB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8613EC5E-96DC-4199-8110-DFF7CF3D8B9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FE24D6FA-3DA3-45CF-B996-BEB0BC7BA95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4</c:v>
                </c:pt>
                <c:pt idx="1">
                  <c:v>7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4%</c:v>
                  </c:pt>
                  <c:pt idx="1">
                    <c:v>76%</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3E6-406A-BD18-9D1352DD1788}"/>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3E6-406A-BD18-9D1352DD1788}"/>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5DB3B466-81B9-4541-A3FA-2ACC8F75E88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C8214039-591D-4E23-9700-06A1042E98D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83E6-406A-BD18-9D1352DD1788}"/>
                </c:ext>
              </c:extLst>
            </c:dLbl>
            <c:dLbl>
              <c:idx val="1"/>
              <c:tx>
                <c:rich>
                  <a:bodyPr/>
                  <a:lstStyle/>
                  <a:p>
                    <a:fld id="{3B7206FC-F899-4CF2-A00F-E9E776872A9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c:v>
                </c:pt>
                <c:pt idx="1">
                  <c:v>9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c:v>
                  </c:pt>
                  <c:pt idx="1">
                    <c:v>96%</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044-4A9A-8BF8-13AAE32259E6}"/>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044-4A9A-8BF8-13AAE32259E6}"/>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EFA09585-E6BE-43B7-AE33-556F351AD59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D973C4AD-9C77-4947-9DEC-6C444632A7E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8044-4A9A-8BF8-13AAE32259E6}"/>
                </c:ext>
              </c:extLst>
            </c:dLbl>
            <c:dLbl>
              <c:idx val="1"/>
              <c:tx>
                <c:rich>
                  <a:bodyPr/>
                  <a:lstStyle/>
                  <a:p>
                    <a:fld id="{9BBE77F0-5E01-4C83-B907-8FD8943F8D5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c:v>
                </c:pt>
                <c:pt idx="1">
                  <c:v>9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c:v>
                  </c:pt>
                  <c:pt idx="1">
                    <c:v>93%</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r>
                      <a:rPr lang="en-GB"/>
                      <a:t>77%</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73EB-456C-B74D-581899DAC290}"/>
                </c:ext>
              </c:extLst>
            </c:dLbl>
            <c:dLbl>
              <c:idx val="1"/>
              <c:tx>
                <c:rich>
                  <a:bodyPr/>
                  <a:lstStyle/>
                  <a:p>
                    <a:fld id="{55AA55AB-8A2C-48AD-972E-DA6250558E1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r>
                      <a:rPr lang="en-GB"/>
                      <a:t>74%</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73EB-456C-B74D-581899DAC290}"/>
                </c:ext>
              </c:extLst>
            </c:dLbl>
            <c:dLbl>
              <c:idx val="3"/>
              <c:tx>
                <c:rich>
                  <a:bodyPr/>
                  <a:lstStyle/>
                  <a:p>
                    <a:fld id="{558115FE-D657-4C4F-8D64-369083D4582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3EB-456C-B74D-581899DAC290}"/>
                </c:ext>
              </c:extLst>
            </c:dLbl>
            <c:dLbl>
              <c:idx val="4"/>
              <c:tx>
                <c:rich>
                  <a:bodyPr/>
                  <a:lstStyle/>
                  <a:p>
                    <a:fld id="{CB73D37B-69D5-4303-898F-7F3E833BA3E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3EB-456C-B74D-581899DAC290}"/>
                </c:ext>
              </c:extLst>
            </c:dLbl>
            <c:dLbl>
              <c:idx val="5"/>
              <c:tx>
                <c:rich>
                  <a:bodyPr/>
                  <a:lstStyle/>
                  <a:p>
                    <a:fld id="{F5876F84-3FD3-432F-AC0C-F8D2A6BEBDF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EB-456C-B74D-581899DAC290}"/>
                </c:ext>
              </c:extLst>
            </c:dLbl>
            <c:dLbl>
              <c:idx val="6"/>
              <c:tx>
                <c:rich>
                  <a:bodyPr/>
                  <a:lstStyle/>
                  <a:p>
                    <a:fld id="{5181E5BE-9744-447F-9DF0-CF85B24E326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77</c:v>
                </c:pt>
                <c:pt idx="1">
                  <c:v>90</c:v>
                </c:pt>
                <c:pt idx="2">
                  <c:v>74</c:v>
                </c:pt>
                <c:pt idx="3">
                  <c:v>68</c:v>
                </c:pt>
                <c:pt idx="4">
                  <c:v>90</c:v>
                </c:pt>
                <c:pt idx="5">
                  <c:v>29</c:v>
                </c:pt>
                <c:pt idx="6">
                  <c:v>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77%q</c:v>
                  </c:pt>
                  <c:pt idx="1">
                    <c:v>90%</c:v>
                  </c:pt>
                  <c:pt idx="2">
                    <c:v>74%q</c:v>
                  </c:pt>
                  <c:pt idx="3">
                    <c:v>68%</c:v>
                  </c:pt>
                  <c:pt idx="4">
                    <c:v>90%</c:v>
                  </c:pt>
                  <c:pt idx="5">
                    <c:v>29%</c:v>
                  </c:pt>
                  <c:pt idx="6">
                    <c:v>1%</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E3E27E13-E24A-4085-84EC-5F20F95A1E7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E36-4621-A2A8-3ADDA83CA04C}"/>
                </c:ext>
              </c:extLst>
            </c:dLbl>
            <c:dLbl>
              <c:idx val="1"/>
              <c:tx>
                <c:rich>
                  <a:bodyPr/>
                  <a:lstStyle/>
                  <a:p>
                    <a:fld id="{2A872C54-183A-46FD-B9F5-8AB2537A6D5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r>
                      <a:rPr lang="en-GB"/>
                      <a:t>61%</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3E36-4621-A2A8-3ADDA83CA04C}"/>
                </c:ext>
              </c:extLst>
            </c:dLbl>
            <c:dLbl>
              <c:idx val="3"/>
              <c:tx>
                <c:rich>
                  <a:bodyPr/>
                  <a:lstStyle/>
                  <a:p>
                    <a:fld id="{85562929-85BB-410C-939E-5E64DB7EDDC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E36-4621-A2A8-3ADDA83CA04C}"/>
                </c:ext>
              </c:extLst>
            </c:dLbl>
            <c:dLbl>
              <c:idx val="4"/>
              <c:tx>
                <c:rich>
                  <a:bodyPr/>
                  <a:lstStyle/>
                  <a:p>
                    <a:fld id="{0ADDC255-D60C-4633-AE4B-FE0BA2BB299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fld id="{A046E745-A7A8-43BB-B516-C11BE4C6EBF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36-4621-A2A8-3ADDA83CA04C}"/>
                </c:ext>
              </c:extLst>
            </c:dLbl>
            <c:dLbl>
              <c:idx val="6"/>
              <c:tx>
                <c:rich>
                  <a:bodyPr/>
                  <a:lstStyle/>
                  <a:p>
                    <a:fld id="{F4CB8983-83D1-415F-9D2B-C9A96464334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0</c:v>
                </c:pt>
                <c:pt idx="1">
                  <c:v>89</c:v>
                </c:pt>
                <c:pt idx="2">
                  <c:v>61</c:v>
                </c:pt>
                <c:pt idx="3">
                  <c:v>65</c:v>
                </c:pt>
                <c:pt idx="4">
                  <c:v>90</c:v>
                </c:pt>
                <c:pt idx="5">
                  <c:v>38</c:v>
                </c:pt>
                <c:pt idx="6">
                  <c:v>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0%</c:v>
                  </c:pt>
                  <c:pt idx="1">
                    <c:v>89%</c:v>
                  </c:pt>
                  <c:pt idx="2">
                    <c:v>61%q</c:v>
                  </c:pt>
                  <c:pt idx="3">
                    <c:v>65%</c:v>
                  </c:pt>
                  <c:pt idx="4">
                    <c:v>90%</c:v>
                  </c:pt>
                  <c:pt idx="5">
                    <c:v>38%</c:v>
                  </c:pt>
                  <c:pt idx="6">
                    <c:v>2%</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2</c:v>
                </c:pt>
                <c:pt idx="1">
                  <c:v>33</c:v>
                </c:pt>
                <c:pt idx="2">
                  <c:v>11</c:v>
                </c:pt>
                <c:pt idx="3">
                  <c:v>2</c:v>
                </c:pt>
                <c:pt idx="4">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6</c:v>
                </c:pt>
                <c:pt idx="1">
                  <c:v>32</c:v>
                </c:pt>
                <c:pt idx="2">
                  <c:v>14</c:v>
                </c:pt>
                <c:pt idx="3">
                  <c:v>5</c:v>
                </c:pt>
                <c:pt idx="4">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D9E194DB-34B9-4D08-934F-6A98B9143E8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62AD7FE1-739B-4177-ACC2-821BB12FA39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9</c:v>
                </c:pt>
                <c:pt idx="1">
                  <c:v>0</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4</c15:f>
                <c15:dlblRangeCache>
                  <c:ptCount val="3"/>
                  <c:pt idx="0">
                    <c:v>99%</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68194CB3-258D-4197-994F-688547EF5B3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36307065-40B5-4004-BF93-F252BB9E739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7</c:v>
                </c:pt>
                <c:pt idx="1">
                  <c:v>0.01</c:v>
                </c:pt>
                <c:pt idx="2">
                  <c:v>0.01</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4</c15:f>
                <c15:dlblRangeCache>
                  <c:ptCount val="3"/>
                  <c:pt idx="0">
                    <c:v>97%</c:v>
                  </c:pt>
                  <c:pt idx="1">
                    <c:v>1%</c:v>
                  </c:pt>
                  <c:pt idx="2">
                    <c:v>1%</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7</c:v>
                </c:pt>
                <c:pt idx="1">
                  <c:v>18</c:v>
                </c:pt>
                <c:pt idx="2">
                  <c:v>7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8</c:v>
                </c:pt>
                <c:pt idx="1">
                  <c:v>40</c:v>
                </c:pt>
                <c:pt idx="2">
                  <c:v>5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21</c:v>
                </c:pt>
                <c:pt idx="1">
                  <c:v>18</c:v>
                </c:pt>
                <c:pt idx="2">
                  <c:v>30</c:v>
                </c:pt>
                <c:pt idx="3">
                  <c:v>15</c:v>
                </c:pt>
                <c:pt idx="4">
                  <c:v>1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2</c:v>
                </c:pt>
                <c:pt idx="1">
                  <c:v>30</c:v>
                </c:pt>
                <c:pt idx="2">
                  <c:v>17</c:v>
                </c:pt>
                <c:pt idx="3">
                  <c:v>14</c:v>
                </c:pt>
                <c:pt idx="4">
                  <c:v>1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40300000000000002</c:v>
                </c:pt>
                <c:pt idx="1">
                  <c:v>0.23699999999999999</c:v>
                </c:pt>
                <c:pt idx="2">
                  <c:v>0.12</c:v>
                </c:pt>
                <c:pt idx="3">
                  <c:v>0.14399999999999999</c:v>
                </c:pt>
                <c:pt idx="4">
                  <c:v>9.5000000000000001E-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47499999999999998</c:v>
                </c:pt>
                <c:pt idx="1">
                  <c:v>0.216</c:v>
                </c:pt>
                <c:pt idx="2">
                  <c:v>0.10100000000000001</c:v>
                </c:pt>
                <c:pt idx="3">
                  <c:v>0.113</c:v>
                </c:pt>
                <c:pt idx="4">
                  <c:v>9.5000000000000001E-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1</c:v>
                </c:pt>
                <c:pt idx="1">
                  <c:v>15</c:v>
                </c:pt>
                <c:pt idx="2">
                  <c:v>29</c:v>
                </c:pt>
                <c:pt idx="3">
                  <c:v>20</c:v>
                </c:pt>
                <c:pt idx="4">
                  <c:v>2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5</c:v>
                </c:pt>
                <c:pt idx="1">
                  <c:v>19</c:v>
                </c:pt>
                <c:pt idx="2">
                  <c:v>22</c:v>
                </c:pt>
                <c:pt idx="3">
                  <c:v>19</c:v>
                </c:pt>
                <c:pt idx="4">
                  <c:v>2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21</c:v>
                </c:pt>
                <c:pt idx="1">
                  <c:v>22</c:v>
                </c:pt>
                <c:pt idx="2">
                  <c:v>26</c:v>
                </c:pt>
                <c:pt idx="3">
                  <c:v>17</c:v>
                </c:pt>
                <c:pt idx="4">
                  <c:v>1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38</c:v>
                </c:pt>
                <c:pt idx="1">
                  <c:v>30</c:v>
                </c:pt>
                <c:pt idx="2">
                  <c:v>15</c:v>
                </c:pt>
                <c:pt idx="3">
                  <c:v>10</c:v>
                </c:pt>
                <c:pt idx="4">
                  <c:v>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A4AE83CD-0A36-4AF6-8BFF-7125193AD47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5D573064-A813-4CCE-A6FB-5E51E2811C0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6FA8A981-82A5-4474-8273-D17D7FB999D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54D96419-83EA-4319-B297-E14C124596A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6</c:v>
                </c:pt>
                <c:pt idx="1">
                  <c:v>0</c:v>
                </c:pt>
                <c:pt idx="2">
                  <c:v>0.06</c:v>
                </c:pt>
                <c:pt idx="3">
                  <c:v>0.04</c:v>
                </c:pt>
                <c:pt idx="4">
                  <c:v>0.02</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86%</c:v>
                  </c:pt>
                  <c:pt idx="1">
                    <c:v>-</c:v>
                  </c:pt>
                  <c:pt idx="2">
                    <c:v>6%</c:v>
                  </c:pt>
                  <c:pt idx="3">
                    <c:v>4%</c:v>
                  </c:pt>
                  <c:pt idx="4">
                    <c:v>2%</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B9031110-463E-49F3-A041-8E38CF67F74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0039757E-3CBA-4CFB-9880-9C7A303A1FB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BBBCD94D-F343-490C-A75D-9C88B53F631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1A929BF2-BE2B-400F-828F-C0FB85E2D79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7</c:v>
                </c:pt>
                <c:pt idx="1">
                  <c:v>0.01</c:v>
                </c:pt>
                <c:pt idx="2">
                  <c:v>0.21</c:v>
                </c:pt>
                <c:pt idx="3">
                  <c:v>0.04</c:v>
                </c:pt>
                <c:pt idx="4">
                  <c:v>0.02</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70%</c:v>
                  </c:pt>
                  <c:pt idx="1">
                    <c:v>1%</c:v>
                  </c:pt>
                  <c:pt idx="2">
                    <c:v>21%</c:v>
                  </c:pt>
                  <c:pt idx="3">
                    <c:v>4%</c:v>
                  </c:pt>
                  <c:pt idx="4">
                    <c:v>2%</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2</c:v>
                </c:pt>
                <c:pt idx="1">
                  <c:v>12</c:v>
                </c:pt>
                <c:pt idx="2">
                  <c:v>30</c:v>
                </c:pt>
                <c:pt idx="3">
                  <c:v>18</c:v>
                </c:pt>
                <c:pt idx="4">
                  <c:v>2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8</c:v>
                </c:pt>
                <c:pt idx="1">
                  <c:v>17</c:v>
                </c:pt>
                <c:pt idx="2">
                  <c:v>25</c:v>
                </c:pt>
                <c:pt idx="3">
                  <c:v>16</c:v>
                </c:pt>
                <c:pt idx="4">
                  <c:v>2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14</c:v>
                </c:pt>
                <c:pt idx="1">
                  <c:v>28</c:v>
                </c:pt>
                <c:pt idx="2">
                  <c:v>38</c:v>
                </c:pt>
                <c:pt idx="3">
                  <c:v>2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8</c:v>
                </c:pt>
                <c:pt idx="1">
                  <c:v>38</c:v>
                </c:pt>
                <c:pt idx="2">
                  <c:v>27</c:v>
                </c:pt>
                <c:pt idx="3">
                  <c:v>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37</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9</c:v>
                </c:pt>
                <c:pt idx="1">
                  <c:v>34</c:v>
                </c:pt>
                <c:pt idx="2">
                  <c:v>13</c:v>
                </c:pt>
                <c:pt idx="3">
                  <c:v>3</c:v>
                </c:pt>
                <c:pt idx="4">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7</c:v>
                </c:pt>
                <c:pt idx="1">
                  <c:v>25</c:v>
                </c:pt>
                <c:pt idx="2">
                  <c:v>5</c:v>
                </c:pt>
                <c:pt idx="3">
                  <c:v>2</c:v>
                </c:pt>
                <c:pt idx="4">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27</c:v>
                </c:pt>
                <c:pt idx="1">
                  <c:v>52</c:v>
                </c:pt>
                <c:pt idx="2">
                  <c:v>17</c:v>
                </c:pt>
                <c:pt idx="3">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0</c:v>
                </c:pt>
                <c:pt idx="1">
                  <c:v>50</c:v>
                </c:pt>
                <c:pt idx="2">
                  <c:v>17</c:v>
                </c:pt>
                <c:pt idx="3">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32</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863-4EF3-8628-514246B9651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863-4EF3-8628-514246B9651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84BD58AB-6D5B-46EC-8FC3-8F17D39EA65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949CDD09-20FA-41EE-BA94-E0EEF6E4E2A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8</c:v>
                </c:pt>
                <c:pt idx="1">
                  <c:v>2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8%</c:v>
                  </c:pt>
                  <c:pt idx="1">
                    <c:v>22%</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E5E-4713-BCB6-17010B44716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E5E-4713-BCB6-17010B44716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231C00C8-3E5B-4C4D-9C51-9D0DFC530DD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83C7573B-3D34-456A-90D8-D52129E092E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4E5E-4713-BCB6-17010B447163}"/>
                </c:ext>
              </c:extLst>
            </c:dLbl>
            <c:dLbl>
              <c:idx val="1"/>
              <c:tx>
                <c:rich>
                  <a:bodyPr/>
                  <a:lstStyle/>
                  <a:p>
                    <a:fld id="{0A0E6041-22A5-4703-8BF7-EE302B9C8A1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3</c:v>
                </c:pt>
                <c:pt idx="1">
                  <c:v>1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3%</c:v>
                  </c:pt>
                  <c:pt idx="1">
                    <c:v>17%</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CFB6-49AC-A845-714BC7862DE1}"/>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FB6-49AC-A845-714BC7862DE1}"/>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E05D2934-64A3-4E6B-B44C-A493212704C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54%</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CFB6-49AC-A845-714BC7862DE1}"/>
                </c:ext>
              </c:extLst>
            </c:dLbl>
            <c:dLbl>
              <c:idx val="1"/>
              <c:tx>
                <c:rich>
                  <a:bodyPr/>
                  <a:lstStyle/>
                  <a:p>
                    <a:r>
                      <a:rPr lang="en-GB"/>
                      <a:t>4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4</c:v>
                </c:pt>
                <c:pt idx="1">
                  <c:v>4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4%q</c:v>
                  </c:pt>
                  <c:pt idx="1">
                    <c:v>46%p</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1B2-481E-8927-CB542BF48EB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1B2-481E-8927-CB542BF48EB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3064375C-B527-4835-9DF7-83247554ECE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7686E00-B8AF-4CB8-ACBF-05F9FE03DE7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61B2-481E-8927-CB542BF48EB3}"/>
                </c:ext>
              </c:extLst>
            </c:dLbl>
            <c:dLbl>
              <c:idx val="1"/>
              <c:tx>
                <c:rich>
                  <a:bodyPr/>
                  <a:lstStyle/>
                  <a:p>
                    <a:fld id="{2592B417-181F-4231-9EE5-79046383A12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1</c:v>
                </c:pt>
                <c:pt idx="1">
                  <c:v>2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1%</c:v>
                  </c:pt>
                  <c:pt idx="1">
                    <c:v>29%</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BD0-417A-9AE1-625975EDEF4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BD0-417A-9AE1-625975EDEF4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0A34971F-30CD-4694-AE4B-2544A4FFD01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ACE90D56-11F4-4CD8-B3B2-B8EB5B98819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5</c:v>
                </c:pt>
                <c:pt idx="1">
                  <c:v>6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5%</c:v>
                  </c:pt>
                  <c:pt idx="1">
                    <c:v>65%</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31F-4356-B084-576816CB2DE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31F-4356-B084-576816CB2DE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05308C8D-A436-4140-9890-7EF263EAB48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9DC8263B-8E8E-426D-BBCF-050DB8B594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331F-4356-B084-576816CB2DE3}"/>
                </c:ext>
              </c:extLst>
            </c:dLbl>
            <c:dLbl>
              <c:idx val="1"/>
              <c:tx>
                <c:rich>
                  <a:bodyPr/>
                  <a:lstStyle/>
                  <a:p>
                    <a:fld id="{3E4AA073-73CD-41DA-B0B1-1567AAAF88F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0</c:v>
                </c:pt>
                <c:pt idx="1">
                  <c:v>6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0%</c:v>
                  </c:pt>
                  <c:pt idx="1">
                    <c:v>60%</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E81-4665-B9F1-19FE31D5928C}"/>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E81-4665-B9F1-19FE31D5928C}"/>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1325BCFB-C96E-4AAE-9258-F0EC02F6B36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D6C7E299-DC7F-44DA-87DC-0FB741D01E4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7</c:v>
                </c:pt>
                <c:pt idx="1">
                  <c:v>5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7%</c:v>
                  </c:pt>
                  <c:pt idx="1">
                    <c:v>53%</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1DD-430C-8FF3-E4B09270E25F}"/>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DD-430C-8FF3-E4B09270E25F}"/>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39F70A46-513E-4C76-A72A-C88BBDC601D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29%</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51DD-430C-8FF3-E4B09270E25F}"/>
                </c:ext>
              </c:extLst>
            </c:dLbl>
            <c:dLbl>
              <c:idx val="1"/>
              <c:tx>
                <c:rich>
                  <a:bodyPr/>
                  <a:lstStyle/>
                  <a:p>
                    <a:r>
                      <a:rPr lang="en-GB"/>
                      <a:t>71%</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9</c:v>
                </c:pt>
                <c:pt idx="1">
                  <c:v>7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9%q</c:v>
                  </c:pt>
                  <c:pt idx="1">
                    <c:v>71%p</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F3E-4C45-9DAC-B2929C4B2C2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F3E-4C45-9DAC-B2929C4B2C2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8B495522-0BB3-4298-9AE3-24CC4CA9473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EA316BC-1738-4EE6-AB7C-7DF676328EEF}"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4F3E-4C45-9DAC-B2929C4B2C23}"/>
                </c:ext>
              </c:extLst>
            </c:dLbl>
            <c:dLbl>
              <c:idx val="1"/>
              <c:tx>
                <c:rich>
                  <a:bodyPr/>
                  <a:lstStyle/>
                  <a:p>
                    <a:fld id="{C8C5DA0D-9758-4388-86E2-F150EFF07E8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1</c:v>
                </c:pt>
                <c:pt idx="1">
                  <c:v>1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1%</c:v>
                  </c:pt>
                  <c:pt idx="1">
                    <c:v>19%</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F81-41A0-AA5F-E21FFFB8EB7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F81-41A0-AA5F-E21FFFB8EB7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A029829C-E46C-46A7-BE2B-A27369B7C65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47780E8-A37F-4F60-A466-6CCAECCBB95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5F81-41A0-AA5F-E21FFFB8EB7E}"/>
                </c:ext>
              </c:extLst>
            </c:dLbl>
            <c:dLbl>
              <c:idx val="1"/>
              <c:tx>
                <c:rich>
                  <a:bodyPr/>
                  <a:lstStyle/>
                  <a:p>
                    <a:fld id="{E23D13A2-FE5C-480C-BCB1-DE0F094D088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5</c:v>
                </c:pt>
                <c:pt idx="1">
                  <c:v>2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5%</c:v>
                  </c:pt>
                  <c:pt idx="1">
                    <c:v>25%</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532-49D4-9643-2B7F1FC6412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532-49D4-9643-2B7F1FC6412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14D039C3-4AB0-4C20-BD00-71353D6E5D3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6C9D4DEB-4C7E-4DD8-B050-2E674CD77FD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F532-49D4-9643-2B7F1FC6412B}"/>
                </c:ext>
              </c:extLst>
            </c:dLbl>
            <c:dLbl>
              <c:idx val="1"/>
              <c:tx>
                <c:rich>
                  <a:bodyPr/>
                  <a:lstStyle/>
                  <a:p>
                    <a:fld id="{A68D5120-DBB4-4909-829D-70E0DA4FE44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1</c:v>
                </c:pt>
                <c:pt idx="1">
                  <c:v>3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1%</c:v>
                  </c:pt>
                  <c:pt idx="1">
                    <c:v>39%</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C56-4EA4-9136-CE48FDDBE16D}"/>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C56-4EA4-9136-CE48FDDBE16D}"/>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0D58A4C4-99F9-436E-93A0-2DA53C60AD0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EFE547D6-676F-476B-B31C-78A28642F5A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9</c:v>
                </c:pt>
                <c:pt idx="1">
                  <c:v>5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9%</c:v>
                  </c:pt>
                  <c:pt idx="1">
                    <c:v>51%</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011-40D3-80BA-F4CA421B82A7}"/>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011-40D3-80BA-F4CA421B82A7}"/>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97FD7A81-85CB-4534-8F20-70833BC4225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70%</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6011-40D3-80BA-F4CA421B82A7}"/>
                </c:ext>
              </c:extLst>
            </c:dLbl>
            <c:dLbl>
              <c:idx val="1"/>
              <c:tx>
                <c:rich>
                  <a:bodyPr/>
                  <a:lstStyle/>
                  <a:p>
                    <a:r>
                      <a:rPr lang="en-GB"/>
                      <a:t>30%</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0</c:v>
                </c:pt>
                <c:pt idx="1">
                  <c:v>3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0%q</c:v>
                  </c:pt>
                  <c:pt idx="1">
                    <c:v>30%p</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A96-46F4-8DED-A8EE18A7949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A96-46F4-8DED-A8EE18A7949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BEA02DD5-C7AB-49ED-A3B2-9C9CCE2B852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77BA5818-BE0C-4F27-AD13-A3938AC1BA7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3</c:v>
                </c:pt>
                <c:pt idx="1">
                  <c:v>2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3%</c:v>
                  </c:pt>
                  <c:pt idx="1">
                    <c:v>27%</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9</c:v>
                </c:pt>
                <c:pt idx="1">
                  <c:v>29</c:v>
                </c:pt>
                <c:pt idx="2">
                  <c:v>2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43</c:v>
                </c:pt>
                <c:pt idx="1">
                  <c:v>49</c:v>
                </c:pt>
                <c:pt idx="2">
                  <c:v>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946BD75C-B8AD-475C-9469-4E9369FD656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fld id="{C98C40DB-632F-4668-934F-57C7B3427D5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fld id="{FF1EDC66-1EEE-4F12-B1EE-C0EACE3BF57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0499828C-3016-4AB6-B59D-42B8ACF5246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268B5D59-4063-462F-96A8-5AFE90AC52E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8BFAA5D1-2AD2-450B-BBA3-0C22B11F862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65</c:v>
                </c:pt>
                <c:pt idx="1">
                  <c:v>7</c:v>
                </c:pt>
                <c:pt idx="2">
                  <c:v>64</c:v>
                </c:pt>
                <c:pt idx="3">
                  <c:v>30</c:v>
                </c:pt>
                <c:pt idx="4">
                  <c:v>21</c:v>
                </c:pt>
                <c:pt idx="5">
                  <c:v>17</c:v>
                </c:pt>
                <c:pt idx="6">
                  <c:v>5</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65%</c:v>
                  </c:pt>
                  <c:pt idx="1">
                    <c:v>7%</c:v>
                  </c:pt>
                  <c:pt idx="2">
                    <c:v>64%</c:v>
                  </c:pt>
                  <c:pt idx="3">
                    <c:v>30%</c:v>
                  </c:pt>
                  <c:pt idx="4">
                    <c:v>21%</c:v>
                  </c:pt>
                  <c:pt idx="5">
                    <c:v>17%</c:v>
                  </c:pt>
                  <c:pt idx="6">
                    <c:v>5%</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4255CB02-D9BD-4637-A186-AE096484EEB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2983E560-133A-40D0-83CE-D0BB779E47B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fld id="{0F1D2C41-1CC1-41CC-B20A-B60EAF45AE1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21A-46C7-99A3-C7EC76CE57AC}"/>
                </c:ext>
              </c:extLst>
            </c:dLbl>
            <c:dLbl>
              <c:idx val="4"/>
              <c:tx>
                <c:rich>
                  <a:bodyPr/>
                  <a:lstStyle/>
                  <a:p>
                    <a:fld id="{466E3E54-5A24-4474-9D59-32CCFD4EBC2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47C8B5B9-2E24-4052-9A8E-6BFBE7AF1BF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E3C17844-997A-4AB8-A2FC-A955A90C5F3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33</c:v>
                </c:pt>
                <c:pt idx="1">
                  <c:v>17</c:v>
                </c:pt>
                <c:pt idx="2">
                  <c:v>31</c:v>
                </c:pt>
                <c:pt idx="3">
                  <c:v>45</c:v>
                </c:pt>
                <c:pt idx="4">
                  <c:v>7</c:v>
                </c:pt>
                <c:pt idx="5">
                  <c:v>12</c:v>
                </c:pt>
                <c:pt idx="6">
                  <c:v>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33%</c:v>
                  </c:pt>
                  <c:pt idx="1">
                    <c:v>17%</c:v>
                  </c:pt>
                  <c:pt idx="2">
                    <c:v>31%</c:v>
                  </c:pt>
                  <c:pt idx="3">
                    <c:v>45%</c:v>
                  </c:pt>
                  <c:pt idx="4">
                    <c:v>7%</c:v>
                  </c:pt>
                  <c:pt idx="5">
                    <c:v>12%</c:v>
                  </c:pt>
                  <c:pt idx="6">
                    <c:v>9%</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2</c:v>
                </c:pt>
                <c:pt idx="1">
                  <c:v>38</c:v>
                </c:pt>
                <c:pt idx="2">
                  <c:v>10</c:v>
                </c:pt>
                <c:pt idx="3">
                  <c:v>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7</c:v>
                </c:pt>
                <c:pt idx="1">
                  <c:v>36</c:v>
                </c:pt>
                <c:pt idx="2">
                  <c:v>5</c:v>
                </c:pt>
                <c:pt idx="3">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3</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17</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3%</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5</c:v>
                </c:pt>
                <c:pt idx="1">
                  <c:v>0.8</c:v>
                </c:pt>
                <c:pt idx="2">
                  <c:v>0.84</c:v>
                </c:pt>
                <c:pt idx="3">
                  <c:v>0.79</c:v>
                </c:pt>
                <c:pt idx="4">
                  <c:v>0.87</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B28E88FC-44D5-427D-90E6-853FE167FD0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520DBEC3-06DF-4EBE-9EC3-03900EC1163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D9D99971-2EB8-4965-A7B6-A1DD52CF3A6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5A062A61-255E-4D62-B8BD-7E71A074A98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5</c:v>
                </c:pt>
                <c:pt idx="1">
                  <c:v>0.2</c:v>
                </c:pt>
                <c:pt idx="2">
                  <c:v>0.16</c:v>
                </c:pt>
                <c:pt idx="3">
                  <c:v>0.21</c:v>
                </c:pt>
                <c:pt idx="4">
                  <c:v>0.13</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5%</c:v>
                  </c:pt>
                  <c:pt idx="1">
                    <c:v>80%</c:v>
                  </c:pt>
                  <c:pt idx="2">
                    <c:v>84%</c:v>
                  </c:pt>
                  <c:pt idx="3">
                    <c:v>79%</c:v>
                  </c:pt>
                  <c:pt idx="4">
                    <c:v>87%</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GREATER MANCHESTER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GREATER MANCHESTER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GREATER MANCHESTER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GREATER MANCHESTER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GREATER MANCHESTER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3000" b="0" dirty="0">
                <a:solidFill>
                  <a:prstClr val="white"/>
                </a:solidFill>
                <a:latin typeface="Arial Black" panose="020B0A04020102020204" pitchFamily="34" charset="0"/>
              </a:rPr>
              <a:t>GREATER MANCHESTER INTEGRATED CARE SYSTEM</a:t>
            </a:r>
            <a:endParaRPr lang="en-GB" sz="30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1283145420"/>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providing support in taking medicine</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25422188"/>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1269994730"/>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weight and BMI check as part of their last annual review
Having a foot check as part of their last annual review
Participating in a course about diabetes
Having confidence in managing their diabetes day-to-day</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85679975"/>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GREATER MANCHESTER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419646665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55082392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92% of respondents who were marked as Type 1 in the sample selected ‘Type 1’, 6% selected ‘Type 2’, 1% selected ‘Other’ and 1% selected ‘I don’t know’ ​</a:t>
            </a:r>
          </a:p>
          <a:p>
            <a:pPr marL="171450" indent="-171450">
              <a:buFont typeface="Arial" panose="020B0604020202020204" pitchFamily="34" charset="0"/>
              <a:buChar char="•"/>
              <a:defRPr/>
            </a:pPr>
            <a:r>
              <a:rPr lang="en-GB" sz="1200" dirty="0">
                <a:solidFill>
                  <a:schemeClr val="tx1"/>
                </a:solidFill>
                <a:effectLst/>
              </a:rPr>
              <a:t>89% of respondents who were marked as Type 2 in the sample selected ‘Type 2’, 5% selected ‘Type 1’, 2% selected ‘Other’ and 4%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595); Type 2, ICS (763)).</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745731739"/>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2969279634"/>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1776271153"/>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794870991"/>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336018431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512); Type 2, National (19,941), ICS (632))</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131310344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229875900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525); Type 2, National (22,278), ICS (702))</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145260047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400049897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485); Type 2, National (21,082), ICS (645))</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340866262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229045132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594); Type 2, National (24,180), ICS (761))</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797935537"/>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1340882075"/>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3791904359"/>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1415122442"/>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388626873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567); Type 2, National (22,482), ICS (700))</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1116340037"/>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251289900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203734427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383123449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28948533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111482649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235755100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354794340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428423959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575); Type 2, National (22,670), ICS (706))</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209897432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223883484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315736488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263982149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312424192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14107144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384885878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410290531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313061444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591); Type 2, National (24,076), ICS (760))</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370638697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167390760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1711499322"/>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273503256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162415930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116829879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311085632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365194438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591); Type 2, National (24,153), ICS (763))</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370746582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38502208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246248664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138430788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44533462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243620803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367307606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242757621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136011206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592); Type 2, National (24,135), ICS (762))</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81547534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11097186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8%</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326701655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391454818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46262248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40416934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36149634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42647509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167126503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591); Type 2, National (24,084), ICS (762))</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108105714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49134494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100414494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89945505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70339264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174075547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137709446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270550883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412979213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590); Type 2, National (24,070), ICS (760))</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213740012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3139436898"/>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24960457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2708687562"/>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519822137"/>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288258106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2862317933"/>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47543226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169634368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593); Type 2, National (24,260), ICS (762))</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205444830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238917641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205365311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367420696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42521104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80066990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145200992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236969133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21259427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594); Type 2, National (24,267), ICS (765))</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208481193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136617972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48055641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49345637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247666896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285380004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391263453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374788030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203386125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592); Type 2, National (24,196), ICS (758))</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313946624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354911732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82422349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594); Type 2, National (24,019), ICS (758))</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305261165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299137024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290); Type 2, National (11,860), ICS (370))</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18615648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294028194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582); Type 2, National (21,228), ICS (684))</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117553478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152577910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572); Type 2, National (20,915), ICS (661))</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287047010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297699080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544); Type 2, National (20,086), ICS (653))</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264691863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28363447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559); Type 2, National (21,890), ICS (694))</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166407281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259789858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539); Type 2, National (18,585), ICS (607))</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183145083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191344581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115656088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337466232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227388538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95440992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122726405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14326517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564); Type 2, National (22,580), ICS (707))</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26386103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3944567984"/>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1845441834"/>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4084329093"/>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4148619360"/>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402755219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440); Type 2, National (12,350), ICS (452))</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223285354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2656074742"/>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397203764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44977262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147301472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211229838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304473714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99769222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572); Type 2, National (10,911), ICS (326))</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99574222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2818682981"/>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820180650"/>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748013721"/>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2227853615"/>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37403528"/>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1483663317"/>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574))</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3048447462"/>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3367317797"/>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4174810766"/>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1569417565"/>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2795821250"/>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2160656643"/>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701))</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GREATER MANCHESTER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3,969</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1,364</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34%</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95</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769</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590</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2,379</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310282444"/>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3496162501"/>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4015603259"/>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182155227"/>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3560453720"/>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2718569552"/>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1043963759"/>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GREATER MANCHESTER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4280808810"/>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having a conversation about what would happen next with their diabetes care at the time of diagnosis
Healthcare professionals providing support with emotional and mental health need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980061825"/>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98604747"/>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foot check as part of their last annual review
Having confidence in managing their diabetes day-to-day</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637957491"/>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3.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897</TotalTime>
  <Words>5334</Words>
  <Application>Microsoft Office PowerPoint</Application>
  <PresentationFormat>Widescreen</PresentationFormat>
  <Paragraphs>810</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HelveticaNeueLT Std Lt Cn</vt:lpstr>
      <vt:lpstr>Wingdings</vt:lpstr>
      <vt:lpstr>Arial Black</vt:lpstr>
      <vt:lpstr>Arial (Body)</vt:lpstr>
      <vt:lpstr>Arial</vt:lpstr>
      <vt:lpstr>Roboto</vt:lpstr>
      <vt:lpstr>Wingdings 3</vt:lpstr>
      <vt:lpstr>Barlow</vt:lpstr>
      <vt:lpstr>Segoe UI</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Emily Fudge</cp:lastModifiedBy>
  <cp:revision>173</cp:revision>
  <cp:lastPrinted>2024-09-17T13:37:47Z</cp:lastPrinted>
  <dcterms:created xsi:type="dcterms:W3CDTF">2024-06-17T14:42:21Z</dcterms:created>
  <dcterms:modified xsi:type="dcterms:W3CDTF">2024-12-02T11:4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